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1" r:id="rId2"/>
    <p:sldId id="414" r:id="rId3"/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  <p:sldId id="434" r:id="rId23"/>
    <p:sldId id="435" r:id="rId24"/>
    <p:sldId id="436" r:id="rId25"/>
    <p:sldId id="437" r:id="rId26"/>
    <p:sldId id="438" r:id="rId27"/>
    <p:sldId id="439" r:id="rId28"/>
    <p:sldId id="440" r:id="rId29"/>
    <p:sldId id="441" r:id="rId30"/>
    <p:sldId id="442" r:id="rId31"/>
    <p:sldId id="443" r:id="rId32"/>
    <p:sldId id="444" r:id="rId33"/>
    <p:sldId id="445" r:id="rId34"/>
    <p:sldId id="446" r:id="rId35"/>
    <p:sldId id="447" r:id="rId36"/>
    <p:sldId id="448" r:id="rId37"/>
    <p:sldId id="449" r:id="rId38"/>
    <p:sldId id="450" r:id="rId39"/>
    <p:sldId id="451" r:id="rId40"/>
    <p:sldId id="452" r:id="rId41"/>
    <p:sldId id="453" r:id="rId42"/>
    <p:sldId id="454" r:id="rId43"/>
    <p:sldId id="455" r:id="rId44"/>
    <p:sldId id="456" r:id="rId45"/>
    <p:sldId id="457" r:id="rId46"/>
    <p:sldId id="458" r:id="rId47"/>
    <p:sldId id="459" r:id="rId48"/>
    <p:sldId id="460" r:id="rId49"/>
    <p:sldId id="461" r:id="rId50"/>
    <p:sldId id="462" r:id="rId51"/>
    <p:sldId id="46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tralczyk, Rene" initials="PR" lastIdx="1" clrIdx="0">
    <p:extLst>
      <p:ext uri="{19B8F6BF-5375-455C-9EA6-DF929625EA0E}">
        <p15:presenceInfo xmlns:p15="http://schemas.microsoft.com/office/powerpoint/2012/main" userId="S::Rene.Pietralczyk@CVSHealth.com::bb38fead-ab1a-4018-bd0b-9338024740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3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7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0261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D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66731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30" y="1784351"/>
            <a:ext cx="8588452" cy="3982707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4431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57360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84350"/>
            <a:ext cx="4145280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98106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686373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83357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0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3022967"/>
            <a:ext cx="7315200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859703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6645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324928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967852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74295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914400" indent="-165100">
              <a:buFont typeface="Arial" panose="020B0604020202020204" pitchFamily="34" charset="0"/>
              <a:buChar char="•"/>
              <a:defRPr/>
            </a:lvl7pPr>
            <a:lvl8pPr marL="1092200" indent="-177800">
              <a:buFont typeface="Arial" panose="020B0604020202020204" pitchFamily="34" charset="0"/>
              <a:buChar char="–"/>
              <a:defRPr/>
            </a:lvl8pPr>
            <a:lvl9pPr marL="1257300" indent="-16510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13158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8609" y="1770064"/>
            <a:ext cx="5238479" cy="3978889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207373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6928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0832" y="1770063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85850" indent="-225425">
              <a:buFont typeface="Arial" panose="020B0604020202020204" pitchFamily="34" charset="0"/>
              <a:buChar char="–"/>
              <a:defRPr/>
            </a:lvl8pPr>
            <a:lvl9pPr marL="1203325" indent="-117475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8470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02826" y="1382595"/>
            <a:ext cx="10386349" cy="2011680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7247" y="3540894"/>
            <a:ext cx="10177508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9667725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07762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7594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7425" y="1770063"/>
            <a:ext cx="2506108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1143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10583869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2567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9125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55684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52243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48800" y="3505200"/>
            <a:ext cx="1670304" cy="224375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09987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2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007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4" y="1764793"/>
            <a:ext cx="7174287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7811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5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8" y="3838340"/>
            <a:ext cx="3493917" cy="1910612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457200" indent="-174625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88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8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4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2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>
              <a:buClrTx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 baseline="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6" y="3137284"/>
            <a:ext cx="2368913" cy="2611669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>
              <a:buClrTx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-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400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30" y="530351"/>
            <a:ext cx="4953871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0063"/>
            <a:ext cx="4953872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86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60917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1" y="530351"/>
            <a:ext cx="4881033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0" y="1773581"/>
            <a:ext cx="4847249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58258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8" y="530351"/>
            <a:ext cx="4953872" cy="7132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3581"/>
            <a:ext cx="4953871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02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92900" y="530351"/>
            <a:ext cx="4881032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,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692901" y="1773581"/>
            <a:ext cx="488103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96960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151692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765543"/>
            <a:ext cx="3582951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9550016" y="6104647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34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953872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30" y="3590383"/>
            <a:ext cx="4953871" cy="18491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59211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9231305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29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743595-4496-5147-A886-7D133864DF76}" type="slidenum">
              <a:rPr lang="en-US" sz="1000" b="1" smtClean="0">
                <a:solidFill>
                  <a:prstClr val="white"/>
                </a:solidFill>
                <a:latin typeface="Arial"/>
                <a:ea typeface="Open Sans" panose="020B0606030504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b="1" dirty="0">
              <a:solidFill>
                <a:prstClr val="white"/>
              </a:solidFill>
              <a:latin typeface="Arial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t>©2020 Aetna Inc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7" y="2180108"/>
            <a:ext cx="7170764" cy="1463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9" y="402092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43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2" y="378059"/>
            <a:ext cx="536964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510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40224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8768" y="2054488"/>
            <a:ext cx="2511552" cy="3694464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36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algn="l">
              <a:buClrTx/>
              <a:defRPr/>
            </a:lvl7pPr>
            <a:lvl8pPr algn="l">
              <a:buClrTx/>
              <a:defRPr/>
            </a:lvl8pPr>
            <a:lvl9pPr algn="l">
              <a:buClrTx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15132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499873" y="378059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4800" b="1" dirty="0">
                <a:solidFill>
                  <a:srgbClr val="868686"/>
                </a:solidFill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30" y="1770063"/>
            <a:ext cx="8588452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4488" indent="-173038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15938" indent="-171450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/>
            </a:lvl6pPr>
            <a:lvl7pPr marL="860425" indent="-173038">
              <a:buClrTx/>
              <a:buFont typeface="Arial" panose="020B0604020202020204" pitchFamily="34" charset="0"/>
              <a:buChar char="•"/>
              <a:defRPr baseline="0"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 bulle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755703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6081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1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77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513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054037" y="2941079"/>
            <a:ext cx="6083929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rgbClr val="7D3F9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60087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053571" y="1196075"/>
            <a:ext cx="4112940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842032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62240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18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tna logo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D3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3032955" y="2928939"/>
            <a:ext cx="6053667" cy="896937"/>
          </a:xfrm>
          <a:custGeom>
            <a:avLst/>
            <a:gdLst>
              <a:gd name="T0" fmla="*/ 657 w 740"/>
              <a:gd name="T1" fmla="*/ 27 h 144"/>
              <a:gd name="T2" fmla="*/ 649 w 740"/>
              <a:gd name="T3" fmla="*/ 50 h 144"/>
              <a:gd name="T4" fmla="*/ 664 w 740"/>
              <a:gd name="T5" fmla="*/ 74 h 144"/>
              <a:gd name="T6" fmla="*/ 705 w 740"/>
              <a:gd name="T7" fmla="*/ 142 h 144"/>
              <a:gd name="T8" fmla="*/ 641 w 740"/>
              <a:gd name="T9" fmla="*/ 108 h 144"/>
              <a:gd name="T10" fmla="*/ 669 w 740"/>
              <a:gd name="T11" fmla="*/ 121 h 144"/>
              <a:gd name="T12" fmla="*/ 326 w 740"/>
              <a:gd name="T13" fmla="*/ 95 h 144"/>
              <a:gd name="T14" fmla="*/ 392 w 740"/>
              <a:gd name="T15" fmla="*/ 60 h 144"/>
              <a:gd name="T16" fmla="*/ 268 w 740"/>
              <a:gd name="T17" fmla="*/ 74 h 144"/>
              <a:gd name="T18" fmla="*/ 180 w 740"/>
              <a:gd name="T19" fmla="*/ 33 h 144"/>
              <a:gd name="T20" fmla="*/ 233 w 740"/>
              <a:gd name="T21" fmla="*/ 72 h 144"/>
              <a:gd name="T22" fmla="*/ 170 w 740"/>
              <a:gd name="T23" fmla="*/ 108 h 144"/>
              <a:gd name="T24" fmla="*/ 267 w 740"/>
              <a:gd name="T25" fmla="*/ 110 h 144"/>
              <a:gd name="T26" fmla="*/ 350 w 740"/>
              <a:gd name="T27" fmla="*/ 144 h 144"/>
              <a:gd name="T28" fmla="*/ 356 w 740"/>
              <a:gd name="T29" fmla="*/ 121 h 144"/>
              <a:gd name="T30" fmla="*/ 227 w 740"/>
              <a:gd name="T31" fmla="*/ 93 h 144"/>
              <a:gd name="T32" fmla="*/ 222 w 740"/>
              <a:gd name="T33" fmla="*/ 122 h 144"/>
              <a:gd name="T34" fmla="*/ 358 w 740"/>
              <a:gd name="T35" fmla="*/ 60 h 144"/>
              <a:gd name="T36" fmla="*/ 592 w 740"/>
              <a:gd name="T37" fmla="*/ 90 h 144"/>
              <a:gd name="T38" fmla="*/ 489 w 740"/>
              <a:gd name="T39" fmla="*/ 30 h 144"/>
              <a:gd name="T40" fmla="*/ 527 w 740"/>
              <a:gd name="T41" fmla="*/ 142 h 144"/>
              <a:gd name="T42" fmla="*/ 539 w 740"/>
              <a:gd name="T43" fmla="*/ 50 h 144"/>
              <a:gd name="T44" fmla="*/ 556 w 740"/>
              <a:gd name="T45" fmla="*/ 142 h 144"/>
              <a:gd name="T46" fmla="*/ 473 w 740"/>
              <a:gd name="T47" fmla="*/ 117 h 144"/>
              <a:gd name="T48" fmla="*/ 413 w 740"/>
              <a:gd name="T49" fmla="*/ 108 h 144"/>
              <a:gd name="T50" fmla="*/ 401 w 740"/>
              <a:gd name="T51" fmla="*/ 35 h 144"/>
              <a:gd name="T52" fmla="*/ 449 w 740"/>
              <a:gd name="T53" fmla="*/ 30 h 144"/>
              <a:gd name="T54" fmla="*/ 448 w 740"/>
              <a:gd name="T55" fmla="*/ 54 h 144"/>
              <a:gd name="T56" fmla="*/ 473 w 740"/>
              <a:gd name="T57" fmla="*/ 117 h 144"/>
              <a:gd name="T58" fmla="*/ 79 w 740"/>
              <a:gd name="T59" fmla="*/ 43 h 144"/>
              <a:gd name="T60" fmla="*/ 125 w 740"/>
              <a:gd name="T61" fmla="*/ 22 h 144"/>
              <a:gd name="T62" fmla="*/ 79 w 740"/>
              <a:gd name="T63" fmla="*/ 144 h 144"/>
              <a:gd name="T64" fmla="*/ 32 w 740"/>
              <a:gd name="T65" fmla="*/ 22 h 144"/>
              <a:gd name="T66" fmla="*/ 723 w 740"/>
              <a:gd name="T67" fmla="*/ 27 h 144"/>
              <a:gd name="T68" fmla="*/ 718 w 740"/>
              <a:gd name="T69" fmla="*/ 41 h 144"/>
              <a:gd name="T70" fmla="*/ 711 w 740"/>
              <a:gd name="T71" fmla="*/ 29 h 144"/>
              <a:gd name="T72" fmla="*/ 730 w 740"/>
              <a:gd name="T73" fmla="*/ 27 h 144"/>
              <a:gd name="T74" fmla="*/ 733 w 740"/>
              <a:gd name="T75" fmla="*/ 39 h 144"/>
              <a:gd name="T76" fmla="*/ 740 w 740"/>
              <a:gd name="T77" fmla="*/ 27 h 144"/>
              <a:gd name="T78" fmla="*/ 738 w 740"/>
              <a:gd name="T79" fmla="*/ 36 h 144"/>
              <a:gd name="T80" fmla="*/ 736 w 740"/>
              <a:gd name="T81" fmla="*/ 36 h 144"/>
              <a:gd name="T82" fmla="*/ 730 w 740"/>
              <a:gd name="T83" fmla="*/ 36 h 144"/>
              <a:gd name="T84" fmla="*/ 728 w 740"/>
              <a:gd name="T85" fmla="*/ 36 h 144"/>
              <a:gd name="T86" fmla="*/ 725 w 740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40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23" y="27"/>
                  <a:pt x="723" y="27"/>
                  <a:pt x="723" y="27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18" y="29"/>
                  <a:pt x="718" y="29"/>
                  <a:pt x="718" y="29"/>
                </a:cubicBezTo>
                <a:cubicBezTo>
                  <a:pt x="718" y="41"/>
                  <a:pt x="718" y="41"/>
                  <a:pt x="718" y="41"/>
                </a:cubicBezTo>
                <a:cubicBezTo>
                  <a:pt x="715" y="41"/>
                  <a:pt x="715" y="41"/>
                  <a:pt x="715" y="41"/>
                </a:cubicBezTo>
                <a:cubicBezTo>
                  <a:pt x="715" y="29"/>
                  <a:pt x="715" y="29"/>
                  <a:pt x="715" y="29"/>
                </a:cubicBezTo>
                <a:cubicBezTo>
                  <a:pt x="711" y="29"/>
                  <a:pt x="711" y="29"/>
                  <a:pt x="711" y="29"/>
                </a:cubicBezTo>
                <a:lnTo>
                  <a:pt x="711" y="27"/>
                </a:lnTo>
                <a:close/>
                <a:moveTo>
                  <a:pt x="725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1" y="33"/>
                  <a:pt x="731" y="33"/>
                  <a:pt x="731" y="33"/>
                </a:cubicBezTo>
                <a:cubicBezTo>
                  <a:pt x="732" y="35"/>
                  <a:pt x="733" y="39"/>
                  <a:pt x="733" y="39"/>
                </a:cubicBezTo>
                <a:cubicBezTo>
                  <a:pt x="733" y="39"/>
                  <a:pt x="733" y="39"/>
                  <a:pt x="733" y="39"/>
                </a:cubicBezTo>
                <a:cubicBezTo>
                  <a:pt x="733" y="39"/>
                  <a:pt x="734" y="35"/>
                  <a:pt x="734" y="33"/>
                </a:cubicBezTo>
                <a:cubicBezTo>
                  <a:pt x="736" y="27"/>
                  <a:pt x="736" y="27"/>
                  <a:pt x="736" y="27"/>
                </a:cubicBezTo>
                <a:cubicBezTo>
                  <a:pt x="740" y="27"/>
                  <a:pt x="740" y="27"/>
                  <a:pt x="740" y="27"/>
                </a:cubicBezTo>
                <a:cubicBezTo>
                  <a:pt x="740" y="41"/>
                  <a:pt x="740" y="41"/>
                  <a:pt x="740" y="41"/>
                </a:cubicBezTo>
                <a:cubicBezTo>
                  <a:pt x="738" y="41"/>
                  <a:pt x="738" y="41"/>
                  <a:pt x="738" y="41"/>
                </a:cubicBezTo>
                <a:cubicBezTo>
                  <a:pt x="738" y="36"/>
                  <a:pt x="738" y="36"/>
                  <a:pt x="738" y="36"/>
                </a:cubicBezTo>
                <a:cubicBezTo>
                  <a:pt x="738" y="33"/>
                  <a:pt x="738" y="29"/>
                  <a:pt x="738" y="29"/>
                </a:cubicBezTo>
                <a:cubicBezTo>
                  <a:pt x="738" y="29"/>
                  <a:pt x="738" y="29"/>
                  <a:pt x="738" y="29"/>
                </a:cubicBezTo>
                <a:cubicBezTo>
                  <a:pt x="738" y="29"/>
                  <a:pt x="737" y="33"/>
                  <a:pt x="736" y="36"/>
                </a:cubicBezTo>
                <a:cubicBezTo>
                  <a:pt x="734" y="41"/>
                  <a:pt x="734" y="41"/>
                  <a:pt x="734" y="41"/>
                </a:cubicBezTo>
                <a:cubicBezTo>
                  <a:pt x="732" y="41"/>
                  <a:pt x="732" y="41"/>
                  <a:pt x="732" y="41"/>
                </a:cubicBezTo>
                <a:cubicBezTo>
                  <a:pt x="730" y="36"/>
                  <a:pt x="730" y="36"/>
                  <a:pt x="730" y="36"/>
                </a:cubicBezTo>
                <a:cubicBezTo>
                  <a:pt x="729" y="33"/>
                  <a:pt x="728" y="29"/>
                  <a:pt x="728" y="29"/>
                </a:cubicBezTo>
                <a:cubicBezTo>
                  <a:pt x="728" y="29"/>
                  <a:pt x="728" y="29"/>
                  <a:pt x="728" y="29"/>
                </a:cubicBezTo>
                <a:cubicBezTo>
                  <a:pt x="728" y="29"/>
                  <a:pt x="728" y="33"/>
                  <a:pt x="728" y="36"/>
                </a:cubicBezTo>
                <a:cubicBezTo>
                  <a:pt x="728" y="41"/>
                  <a:pt x="728" y="41"/>
                  <a:pt x="728" y="41"/>
                </a:cubicBezTo>
                <a:cubicBezTo>
                  <a:pt x="725" y="41"/>
                  <a:pt x="725" y="41"/>
                  <a:pt x="725" y="41"/>
                </a:cubicBezTo>
                <a:lnTo>
                  <a:pt x="72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18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36" progId="TCLayout.ActiveDocument.1">
                  <p:embed/>
                </p:oleObj>
              </mc:Choice>
              <mc:Fallback>
                <p:oleObj name="think-cell Slide" r:id="rId3" imgW="336" imgH="3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9" descr="Violet (transparent background)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347" y="6438903"/>
            <a:ext cx="536715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0968" y="1222375"/>
            <a:ext cx="1129482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4" y="388063"/>
            <a:ext cx="9457359" cy="73161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19" y="1895473"/>
            <a:ext cx="9452851" cy="434340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9B6A854-730C-4665-8218-F7FC6C903FF1}" type="datetime1">
              <a:rPr lang="en-US">
                <a:solidFill>
                  <a:srgbClr val="000000"/>
                </a:solidFill>
              </a:rPr>
              <a:pPr/>
              <a:t>11/20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Capitol - For Internal Use Only - 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7892C99-7E50-4912-ABC8-E78F8BDEADF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54020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7793" y="388062"/>
            <a:ext cx="9457359" cy="731520"/>
          </a:xfrm>
        </p:spPr>
        <p:txBody>
          <a:bodyPr anchor="ctr"/>
          <a:lstStyle>
            <a:lvl1pPr>
              <a:defRPr>
                <a:solidFill>
                  <a:srgbClr val="7D3F98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0242" y="1600200"/>
            <a:ext cx="9444909" cy="4636008"/>
          </a:xfrm>
        </p:spPr>
        <p:txBody>
          <a:bodyPr/>
          <a:lstStyle>
            <a:lvl1pPr>
              <a:spcBef>
                <a:spcPts val="1350"/>
              </a:spcBef>
              <a:defRPr sz="1350" b="1" i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0" indent="0">
              <a:spcBef>
                <a:spcPts val="900"/>
              </a:spcBef>
              <a:buFontTx/>
              <a:buNone/>
              <a:defRPr sz="1350"/>
            </a:lvl2pPr>
            <a:lvl3pPr marL="150059" indent="-150059">
              <a:spcBef>
                <a:spcPts val="450"/>
              </a:spcBef>
              <a:buFont typeface="Arial"/>
              <a:buChar char="•"/>
              <a:defRPr sz="1350"/>
            </a:lvl3pPr>
            <a:lvl4pPr marL="298927" indent="-150059">
              <a:buFont typeface="Lucida Grande"/>
              <a:buChar char="-"/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 </a:t>
            </a:r>
          </a:p>
          <a:p>
            <a:pPr lvl="2"/>
            <a:r>
              <a:rPr lang="en-US" dirty="0"/>
              <a:t>Second-level</a:t>
            </a:r>
          </a:p>
          <a:p>
            <a:pPr lvl="3"/>
            <a:r>
              <a:rPr lang="en-US" dirty="0"/>
              <a:t>Third-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1324" y="1222520"/>
            <a:ext cx="1129448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28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39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5882600"/>
            <a:ext cx="10977033" cy="418596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footnotes if needed</a:t>
            </a:r>
          </a:p>
        </p:txBody>
      </p:sp>
    </p:spTree>
    <p:extLst>
      <p:ext uri="{BB962C8B-B14F-4D97-AF65-F5344CB8AC3E}">
        <p14:creationId xmlns:p14="http://schemas.microsoft.com/office/powerpoint/2010/main" val="2457213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4948233" y="6204230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6190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768" y="0"/>
            <a:ext cx="610023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  <a:latin typeface="+mn-lt"/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7932" y="1077090"/>
            <a:ext cx="5078753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1" y="3325706"/>
            <a:ext cx="5078755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47509" y="6016711"/>
            <a:ext cx="2202937" cy="319913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29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A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8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2112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B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0" y="4350555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Freeform 5"/>
          <p:cNvSpPr>
            <a:spLocks noChangeAspect="1" noEditPoints="1"/>
          </p:cNvSpPr>
          <p:nvPr userDrawn="1"/>
        </p:nvSpPr>
        <p:spPr bwMode="auto">
          <a:xfrm>
            <a:off x="6205728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694303" y="6190761"/>
            <a:ext cx="1271083" cy="429768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66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C -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1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47508" y="381422"/>
            <a:ext cx="2162843" cy="41867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3505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algn="ctr">
              <a:lnSpc>
                <a:spcPct val="80000"/>
              </a:lnSpc>
              <a:defRPr sz="6600" b="1" baseline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1254" y="6375760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auto">
          <a:xfrm>
            <a:off x="4413504" y="6298130"/>
            <a:ext cx="1637120" cy="237744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6237754" y="6192974"/>
            <a:ext cx="1271083" cy="420624"/>
          </a:xfrm>
          <a:solidFill>
            <a:schemeClr val="bg2"/>
          </a:solidFill>
        </p:spPr>
        <p:txBody>
          <a:bodyPr anchor="ctr"/>
          <a:lstStyle>
            <a:lvl1pPr algn="ctr">
              <a:defRPr sz="75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 LOGO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60704" y="4361688"/>
            <a:ext cx="10082784" cy="795528"/>
          </a:xfrm>
        </p:spPr>
        <p:txBody>
          <a:bodyPr rIns="0" anchor="b" anchorCtr="0"/>
          <a:lstStyle>
            <a:lvl1pPr algn="ctr"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6048" y="5266944"/>
            <a:ext cx="9912096" cy="347472"/>
          </a:xfrm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14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392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10400464" y="6352940"/>
            <a:ext cx="1243203" cy="180538"/>
          </a:xfrm>
          <a:custGeom>
            <a:avLst/>
            <a:gdLst>
              <a:gd name="T0" fmla="*/ 657 w 759"/>
              <a:gd name="T1" fmla="*/ 27 h 144"/>
              <a:gd name="T2" fmla="*/ 649 w 759"/>
              <a:gd name="T3" fmla="*/ 50 h 144"/>
              <a:gd name="T4" fmla="*/ 664 w 759"/>
              <a:gd name="T5" fmla="*/ 74 h 144"/>
              <a:gd name="T6" fmla="*/ 705 w 759"/>
              <a:gd name="T7" fmla="*/ 142 h 144"/>
              <a:gd name="T8" fmla="*/ 641 w 759"/>
              <a:gd name="T9" fmla="*/ 108 h 144"/>
              <a:gd name="T10" fmla="*/ 669 w 759"/>
              <a:gd name="T11" fmla="*/ 121 h 144"/>
              <a:gd name="T12" fmla="*/ 326 w 759"/>
              <a:gd name="T13" fmla="*/ 95 h 144"/>
              <a:gd name="T14" fmla="*/ 392 w 759"/>
              <a:gd name="T15" fmla="*/ 60 h 144"/>
              <a:gd name="T16" fmla="*/ 268 w 759"/>
              <a:gd name="T17" fmla="*/ 74 h 144"/>
              <a:gd name="T18" fmla="*/ 180 w 759"/>
              <a:gd name="T19" fmla="*/ 33 h 144"/>
              <a:gd name="T20" fmla="*/ 233 w 759"/>
              <a:gd name="T21" fmla="*/ 72 h 144"/>
              <a:gd name="T22" fmla="*/ 170 w 759"/>
              <a:gd name="T23" fmla="*/ 108 h 144"/>
              <a:gd name="T24" fmla="*/ 267 w 759"/>
              <a:gd name="T25" fmla="*/ 110 h 144"/>
              <a:gd name="T26" fmla="*/ 350 w 759"/>
              <a:gd name="T27" fmla="*/ 144 h 144"/>
              <a:gd name="T28" fmla="*/ 356 w 759"/>
              <a:gd name="T29" fmla="*/ 121 h 144"/>
              <a:gd name="T30" fmla="*/ 227 w 759"/>
              <a:gd name="T31" fmla="*/ 93 h 144"/>
              <a:gd name="T32" fmla="*/ 222 w 759"/>
              <a:gd name="T33" fmla="*/ 122 h 144"/>
              <a:gd name="T34" fmla="*/ 358 w 759"/>
              <a:gd name="T35" fmla="*/ 60 h 144"/>
              <a:gd name="T36" fmla="*/ 592 w 759"/>
              <a:gd name="T37" fmla="*/ 90 h 144"/>
              <a:gd name="T38" fmla="*/ 489 w 759"/>
              <a:gd name="T39" fmla="*/ 30 h 144"/>
              <a:gd name="T40" fmla="*/ 527 w 759"/>
              <a:gd name="T41" fmla="*/ 142 h 144"/>
              <a:gd name="T42" fmla="*/ 539 w 759"/>
              <a:gd name="T43" fmla="*/ 50 h 144"/>
              <a:gd name="T44" fmla="*/ 556 w 759"/>
              <a:gd name="T45" fmla="*/ 142 h 144"/>
              <a:gd name="T46" fmla="*/ 473 w 759"/>
              <a:gd name="T47" fmla="*/ 117 h 144"/>
              <a:gd name="T48" fmla="*/ 413 w 759"/>
              <a:gd name="T49" fmla="*/ 108 h 144"/>
              <a:gd name="T50" fmla="*/ 401 w 759"/>
              <a:gd name="T51" fmla="*/ 35 h 144"/>
              <a:gd name="T52" fmla="*/ 449 w 759"/>
              <a:gd name="T53" fmla="*/ 30 h 144"/>
              <a:gd name="T54" fmla="*/ 448 w 759"/>
              <a:gd name="T55" fmla="*/ 54 h 144"/>
              <a:gd name="T56" fmla="*/ 473 w 759"/>
              <a:gd name="T57" fmla="*/ 117 h 144"/>
              <a:gd name="T58" fmla="*/ 79 w 759"/>
              <a:gd name="T59" fmla="*/ 43 h 144"/>
              <a:gd name="T60" fmla="*/ 125 w 759"/>
              <a:gd name="T61" fmla="*/ 22 h 144"/>
              <a:gd name="T62" fmla="*/ 79 w 759"/>
              <a:gd name="T63" fmla="*/ 144 h 144"/>
              <a:gd name="T64" fmla="*/ 32 w 759"/>
              <a:gd name="T65" fmla="*/ 22 h 144"/>
              <a:gd name="T66" fmla="*/ 730 w 759"/>
              <a:gd name="T67" fmla="*/ 27 h 144"/>
              <a:gd name="T68" fmla="*/ 723 w 759"/>
              <a:gd name="T69" fmla="*/ 51 h 144"/>
              <a:gd name="T70" fmla="*/ 711 w 759"/>
              <a:gd name="T71" fmla="*/ 31 h 144"/>
              <a:gd name="T72" fmla="*/ 741 w 759"/>
              <a:gd name="T73" fmla="*/ 27 h 144"/>
              <a:gd name="T74" fmla="*/ 747 w 759"/>
              <a:gd name="T75" fmla="*/ 46 h 144"/>
              <a:gd name="T76" fmla="*/ 759 w 759"/>
              <a:gd name="T77" fmla="*/ 27 h 144"/>
              <a:gd name="T78" fmla="*/ 755 w 759"/>
              <a:gd name="T79" fmla="*/ 42 h 144"/>
              <a:gd name="T80" fmla="*/ 752 w 759"/>
              <a:gd name="T81" fmla="*/ 41 h 144"/>
              <a:gd name="T82" fmla="*/ 742 w 759"/>
              <a:gd name="T83" fmla="*/ 41 h 144"/>
              <a:gd name="T84" fmla="*/ 739 w 759"/>
              <a:gd name="T85" fmla="*/ 42 h 144"/>
              <a:gd name="T86" fmla="*/ 735 w 759"/>
              <a:gd name="T8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59" h="144">
                <a:moveTo>
                  <a:pt x="704" y="110"/>
                </a:moveTo>
                <a:cubicBezTo>
                  <a:pt x="704" y="100"/>
                  <a:pt x="705" y="86"/>
                  <a:pt x="705" y="69"/>
                </a:cubicBezTo>
                <a:cubicBezTo>
                  <a:pt x="705" y="38"/>
                  <a:pt x="692" y="27"/>
                  <a:pt x="657" y="27"/>
                </a:cubicBezTo>
                <a:cubicBezTo>
                  <a:pt x="640" y="27"/>
                  <a:pt x="625" y="29"/>
                  <a:pt x="616" y="33"/>
                </a:cubicBezTo>
                <a:cubicBezTo>
                  <a:pt x="618" y="58"/>
                  <a:pt x="618" y="58"/>
                  <a:pt x="618" y="58"/>
                </a:cubicBezTo>
                <a:cubicBezTo>
                  <a:pt x="626" y="54"/>
                  <a:pt x="637" y="50"/>
                  <a:pt x="649" y="50"/>
                </a:cubicBezTo>
                <a:cubicBezTo>
                  <a:pt x="665" y="50"/>
                  <a:pt x="669" y="56"/>
                  <a:pt x="669" y="72"/>
                </a:cubicBezTo>
                <a:cubicBezTo>
                  <a:pt x="669" y="74"/>
                  <a:pt x="669" y="74"/>
                  <a:pt x="669" y="74"/>
                </a:cubicBezTo>
                <a:cubicBezTo>
                  <a:pt x="668" y="74"/>
                  <a:pt x="665" y="74"/>
                  <a:pt x="664" y="74"/>
                </a:cubicBezTo>
                <a:cubicBezTo>
                  <a:pt x="624" y="74"/>
                  <a:pt x="606" y="86"/>
                  <a:pt x="606" y="108"/>
                </a:cubicBezTo>
                <a:cubicBezTo>
                  <a:pt x="606" y="131"/>
                  <a:pt x="618" y="144"/>
                  <a:pt x="650" y="144"/>
                </a:cubicBezTo>
                <a:cubicBezTo>
                  <a:pt x="667" y="144"/>
                  <a:pt x="684" y="142"/>
                  <a:pt x="705" y="142"/>
                </a:cubicBezTo>
                <a:cubicBezTo>
                  <a:pt x="704" y="133"/>
                  <a:pt x="704" y="120"/>
                  <a:pt x="704" y="110"/>
                </a:cubicBezTo>
                <a:close/>
                <a:moveTo>
                  <a:pt x="658" y="122"/>
                </a:moveTo>
                <a:cubicBezTo>
                  <a:pt x="646" y="122"/>
                  <a:pt x="641" y="118"/>
                  <a:pt x="641" y="108"/>
                </a:cubicBezTo>
                <a:cubicBezTo>
                  <a:pt x="641" y="99"/>
                  <a:pt x="648" y="93"/>
                  <a:pt x="664" y="93"/>
                </a:cubicBezTo>
                <a:cubicBezTo>
                  <a:pt x="666" y="93"/>
                  <a:pt x="667" y="93"/>
                  <a:pt x="669" y="93"/>
                </a:cubicBezTo>
                <a:cubicBezTo>
                  <a:pt x="669" y="103"/>
                  <a:pt x="668" y="114"/>
                  <a:pt x="669" y="121"/>
                </a:cubicBezTo>
                <a:cubicBezTo>
                  <a:pt x="666" y="122"/>
                  <a:pt x="662" y="122"/>
                  <a:pt x="658" y="122"/>
                </a:cubicBezTo>
                <a:close/>
                <a:moveTo>
                  <a:pt x="356" y="121"/>
                </a:moveTo>
                <a:cubicBezTo>
                  <a:pt x="336" y="121"/>
                  <a:pt x="326" y="111"/>
                  <a:pt x="326" y="95"/>
                </a:cubicBezTo>
                <a:cubicBezTo>
                  <a:pt x="326" y="94"/>
                  <a:pt x="326" y="94"/>
                  <a:pt x="326" y="94"/>
                </a:cubicBezTo>
                <a:cubicBezTo>
                  <a:pt x="329" y="95"/>
                  <a:pt x="336" y="95"/>
                  <a:pt x="340" y="95"/>
                </a:cubicBezTo>
                <a:cubicBezTo>
                  <a:pt x="375" y="95"/>
                  <a:pt x="392" y="84"/>
                  <a:pt x="392" y="60"/>
                </a:cubicBezTo>
                <a:cubicBezTo>
                  <a:pt x="392" y="40"/>
                  <a:pt x="378" y="27"/>
                  <a:pt x="346" y="27"/>
                </a:cubicBezTo>
                <a:cubicBezTo>
                  <a:pt x="307" y="27"/>
                  <a:pt x="292" y="44"/>
                  <a:pt x="288" y="75"/>
                </a:cubicBezTo>
                <a:cubicBezTo>
                  <a:pt x="283" y="75"/>
                  <a:pt x="277" y="74"/>
                  <a:pt x="268" y="74"/>
                </a:cubicBezTo>
                <a:cubicBezTo>
                  <a:pt x="268" y="73"/>
                  <a:pt x="268" y="71"/>
                  <a:pt x="268" y="69"/>
                </a:cubicBezTo>
                <a:cubicBezTo>
                  <a:pt x="268" y="38"/>
                  <a:pt x="255" y="27"/>
                  <a:pt x="221" y="27"/>
                </a:cubicBezTo>
                <a:cubicBezTo>
                  <a:pt x="204" y="27"/>
                  <a:pt x="189" y="29"/>
                  <a:pt x="180" y="33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9" y="54"/>
                  <a:pt x="201" y="50"/>
                  <a:pt x="212" y="50"/>
                </a:cubicBezTo>
                <a:cubicBezTo>
                  <a:pt x="228" y="50"/>
                  <a:pt x="233" y="56"/>
                  <a:pt x="233" y="72"/>
                </a:cubicBezTo>
                <a:cubicBezTo>
                  <a:pt x="233" y="74"/>
                  <a:pt x="233" y="74"/>
                  <a:pt x="233" y="74"/>
                </a:cubicBezTo>
                <a:cubicBezTo>
                  <a:pt x="232" y="74"/>
                  <a:pt x="229" y="74"/>
                  <a:pt x="227" y="74"/>
                </a:cubicBezTo>
                <a:cubicBezTo>
                  <a:pt x="188" y="74"/>
                  <a:pt x="170" y="86"/>
                  <a:pt x="170" y="108"/>
                </a:cubicBezTo>
                <a:cubicBezTo>
                  <a:pt x="170" y="131"/>
                  <a:pt x="181" y="144"/>
                  <a:pt x="213" y="144"/>
                </a:cubicBezTo>
                <a:cubicBezTo>
                  <a:pt x="230" y="144"/>
                  <a:pt x="247" y="142"/>
                  <a:pt x="269" y="142"/>
                </a:cubicBezTo>
                <a:cubicBezTo>
                  <a:pt x="267" y="133"/>
                  <a:pt x="267" y="120"/>
                  <a:pt x="267" y="110"/>
                </a:cubicBezTo>
                <a:cubicBezTo>
                  <a:pt x="267" y="106"/>
                  <a:pt x="267" y="100"/>
                  <a:pt x="268" y="94"/>
                </a:cubicBezTo>
                <a:cubicBezTo>
                  <a:pt x="277" y="94"/>
                  <a:pt x="284" y="94"/>
                  <a:pt x="288" y="94"/>
                </a:cubicBezTo>
                <a:cubicBezTo>
                  <a:pt x="291" y="131"/>
                  <a:pt x="310" y="144"/>
                  <a:pt x="350" y="144"/>
                </a:cubicBezTo>
                <a:cubicBezTo>
                  <a:pt x="364" y="144"/>
                  <a:pt x="379" y="142"/>
                  <a:pt x="387" y="138"/>
                </a:cubicBezTo>
                <a:cubicBezTo>
                  <a:pt x="386" y="113"/>
                  <a:pt x="386" y="113"/>
                  <a:pt x="386" y="113"/>
                </a:cubicBezTo>
                <a:cubicBezTo>
                  <a:pt x="378" y="118"/>
                  <a:pt x="367" y="121"/>
                  <a:pt x="356" y="121"/>
                </a:cubicBezTo>
                <a:close/>
                <a:moveTo>
                  <a:pt x="222" y="122"/>
                </a:moveTo>
                <a:cubicBezTo>
                  <a:pt x="210" y="122"/>
                  <a:pt x="205" y="118"/>
                  <a:pt x="205" y="108"/>
                </a:cubicBezTo>
                <a:cubicBezTo>
                  <a:pt x="205" y="99"/>
                  <a:pt x="211" y="93"/>
                  <a:pt x="227" y="93"/>
                </a:cubicBezTo>
                <a:cubicBezTo>
                  <a:pt x="229" y="93"/>
                  <a:pt x="231" y="93"/>
                  <a:pt x="232" y="93"/>
                </a:cubicBezTo>
                <a:cubicBezTo>
                  <a:pt x="232" y="103"/>
                  <a:pt x="232" y="114"/>
                  <a:pt x="232" y="121"/>
                </a:cubicBezTo>
                <a:cubicBezTo>
                  <a:pt x="230" y="122"/>
                  <a:pt x="225" y="122"/>
                  <a:pt x="222" y="122"/>
                </a:cubicBezTo>
                <a:close/>
                <a:moveTo>
                  <a:pt x="325" y="75"/>
                </a:moveTo>
                <a:cubicBezTo>
                  <a:pt x="325" y="59"/>
                  <a:pt x="330" y="48"/>
                  <a:pt x="345" y="48"/>
                </a:cubicBezTo>
                <a:cubicBezTo>
                  <a:pt x="353" y="48"/>
                  <a:pt x="358" y="52"/>
                  <a:pt x="358" y="60"/>
                </a:cubicBezTo>
                <a:cubicBezTo>
                  <a:pt x="358" y="71"/>
                  <a:pt x="351" y="76"/>
                  <a:pt x="336" y="76"/>
                </a:cubicBezTo>
                <a:cubicBezTo>
                  <a:pt x="332" y="76"/>
                  <a:pt x="328" y="76"/>
                  <a:pt x="325" y="75"/>
                </a:cubicBezTo>
                <a:close/>
                <a:moveTo>
                  <a:pt x="592" y="90"/>
                </a:moveTo>
                <a:cubicBezTo>
                  <a:pt x="592" y="80"/>
                  <a:pt x="592" y="68"/>
                  <a:pt x="592" y="68"/>
                </a:cubicBezTo>
                <a:cubicBezTo>
                  <a:pt x="592" y="39"/>
                  <a:pt x="580" y="27"/>
                  <a:pt x="545" y="27"/>
                </a:cubicBezTo>
                <a:cubicBezTo>
                  <a:pt x="525" y="27"/>
                  <a:pt x="511" y="30"/>
                  <a:pt x="489" y="30"/>
                </a:cubicBezTo>
                <a:cubicBezTo>
                  <a:pt x="490" y="50"/>
                  <a:pt x="490" y="75"/>
                  <a:pt x="490" y="90"/>
                </a:cubicBezTo>
                <a:cubicBezTo>
                  <a:pt x="490" y="105"/>
                  <a:pt x="490" y="133"/>
                  <a:pt x="489" y="142"/>
                </a:cubicBezTo>
                <a:cubicBezTo>
                  <a:pt x="527" y="142"/>
                  <a:pt x="527" y="142"/>
                  <a:pt x="527" y="142"/>
                </a:cubicBezTo>
                <a:cubicBezTo>
                  <a:pt x="526" y="133"/>
                  <a:pt x="525" y="107"/>
                  <a:pt x="525" y="90"/>
                </a:cubicBezTo>
                <a:cubicBezTo>
                  <a:pt x="525" y="80"/>
                  <a:pt x="525" y="68"/>
                  <a:pt x="526" y="52"/>
                </a:cubicBezTo>
                <a:cubicBezTo>
                  <a:pt x="529" y="51"/>
                  <a:pt x="534" y="50"/>
                  <a:pt x="539" y="50"/>
                </a:cubicBezTo>
                <a:cubicBezTo>
                  <a:pt x="552" y="50"/>
                  <a:pt x="557" y="56"/>
                  <a:pt x="557" y="73"/>
                </a:cubicBezTo>
                <a:cubicBezTo>
                  <a:pt x="557" y="73"/>
                  <a:pt x="557" y="83"/>
                  <a:pt x="557" y="90"/>
                </a:cubicBezTo>
                <a:cubicBezTo>
                  <a:pt x="557" y="105"/>
                  <a:pt x="556" y="133"/>
                  <a:pt x="556" y="142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33"/>
                  <a:pt x="592" y="107"/>
                  <a:pt x="592" y="90"/>
                </a:cubicBezTo>
                <a:close/>
                <a:moveTo>
                  <a:pt x="473" y="117"/>
                </a:moveTo>
                <a:cubicBezTo>
                  <a:pt x="475" y="142"/>
                  <a:pt x="475" y="142"/>
                  <a:pt x="475" y="142"/>
                </a:cubicBezTo>
                <a:cubicBezTo>
                  <a:pt x="472" y="142"/>
                  <a:pt x="463" y="144"/>
                  <a:pt x="451" y="144"/>
                </a:cubicBezTo>
                <a:cubicBezTo>
                  <a:pt x="426" y="144"/>
                  <a:pt x="413" y="134"/>
                  <a:pt x="413" y="108"/>
                </a:cubicBezTo>
                <a:cubicBezTo>
                  <a:pt x="413" y="88"/>
                  <a:pt x="413" y="66"/>
                  <a:pt x="414" y="54"/>
                </a:cubicBezTo>
                <a:cubicBezTo>
                  <a:pt x="401" y="54"/>
                  <a:pt x="401" y="54"/>
                  <a:pt x="401" y="54"/>
                </a:cubicBezTo>
                <a:cubicBezTo>
                  <a:pt x="401" y="49"/>
                  <a:pt x="401" y="41"/>
                  <a:pt x="401" y="35"/>
                </a:cubicBezTo>
                <a:cubicBezTo>
                  <a:pt x="420" y="32"/>
                  <a:pt x="426" y="21"/>
                  <a:pt x="429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49" y="9"/>
                  <a:pt x="449" y="22"/>
                  <a:pt x="449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1" y="54"/>
                  <a:pt x="471" y="54"/>
                  <a:pt x="471" y="54"/>
                </a:cubicBezTo>
                <a:cubicBezTo>
                  <a:pt x="448" y="54"/>
                  <a:pt x="448" y="54"/>
                  <a:pt x="448" y="54"/>
                </a:cubicBezTo>
                <a:cubicBezTo>
                  <a:pt x="448" y="98"/>
                  <a:pt x="448" y="98"/>
                  <a:pt x="448" y="98"/>
                </a:cubicBezTo>
                <a:cubicBezTo>
                  <a:pt x="448" y="115"/>
                  <a:pt x="452" y="119"/>
                  <a:pt x="463" y="119"/>
                </a:cubicBezTo>
                <a:cubicBezTo>
                  <a:pt x="467" y="119"/>
                  <a:pt x="471" y="118"/>
                  <a:pt x="473" y="117"/>
                </a:cubicBezTo>
                <a:close/>
                <a:moveTo>
                  <a:pt x="45" y="16"/>
                </a:moveTo>
                <a:cubicBezTo>
                  <a:pt x="50" y="16"/>
                  <a:pt x="54" y="18"/>
                  <a:pt x="58" y="22"/>
                </a:cubicBezTo>
                <a:cubicBezTo>
                  <a:pt x="79" y="43"/>
                  <a:pt x="79" y="43"/>
                  <a:pt x="79" y="4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3" y="18"/>
                  <a:pt x="108" y="16"/>
                  <a:pt x="112" y="16"/>
                </a:cubicBezTo>
                <a:cubicBezTo>
                  <a:pt x="117" y="16"/>
                  <a:pt x="122" y="18"/>
                  <a:pt x="125" y="22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8" y="54"/>
                  <a:pt x="158" y="65"/>
                  <a:pt x="151" y="73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65"/>
                  <a:pt x="0" y="54"/>
                  <a:pt x="7" y="47"/>
                </a:cubicBezTo>
                <a:cubicBezTo>
                  <a:pt x="32" y="22"/>
                  <a:pt x="32" y="22"/>
                  <a:pt x="32" y="22"/>
                </a:cubicBezTo>
                <a:cubicBezTo>
                  <a:pt x="36" y="18"/>
                  <a:pt x="41" y="16"/>
                  <a:pt x="45" y="16"/>
                </a:cubicBezTo>
                <a:moveTo>
                  <a:pt x="711" y="27"/>
                </a:moveTo>
                <a:cubicBezTo>
                  <a:pt x="730" y="27"/>
                  <a:pt x="730" y="27"/>
                  <a:pt x="730" y="27"/>
                </a:cubicBezTo>
                <a:cubicBezTo>
                  <a:pt x="730" y="31"/>
                  <a:pt x="730" y="31"/>
                  <a:pt x="730" y="31"/>
                </a:cubicBezTo>
                <a:cubicBezTo>
                  <a:pt x="723" y="31"/>
                  <a:pt x="723" y="31"/>
                  <a:pt x="723" y="31"/>
                </a:cubicBezTo>
                <a:cubicBezTo>
                  <a:pt x="723" y="51"/>
                  <a:pt x="723" y="51"/>
                  <a:pt x="723" y="51"/>
                </a:cubicBezTo>
                <a:cubicBezTo>
                  <a:pt x="718" y="51"/>
                  <a:pt x="718" y="51"/>
                  <a:pt x="718" y="51"/>
                </a:cubicBezTo>
                <a:cubicBezTo>
                  <a:pt x="718" y="31"/>
                  <a:pt x="718" y="31"/>
                  <a:pt x="718" y="31"/>
                </a:cubicBezTo>
                <a:cubicBezTo>
                  <a:pt x="711" y="31"/>
                  <a:pt x="711" y="31"/>
                  <a:pt x="711" y="31"/>
                </a:cubicBezTo>
                <a:lnTo>
                  <a:pt x="711" y="27"/>
                </a:lnTo>
                <a:close/>
                <a:moveTo>
                  <a:pt x="735" y="27"/>
                </a:moveTo>
                <a:cubicBezTo>
                  <a:pt x="741" y="27"/>
                  <a:pt x="741" y="27"/>
                  <a:pt x="741" y="27"/>
                </a:cubicBezTo>
                <a:cubicBezTo>
                  <a:pt x="744" y="37"/>
                  <a:pt x="744" y="37"/>
                  <a:pt x="744" y="37"/>
                </a:cubicBezTo>
                <a:cubicBezTo>
                  <a:pt x="745" y="40"/>
                  <a:pt x="747" y="46"/>
                  <a:pt x="747" y="46"/>
                </a:cubicBezTo>
                <a:cubicBezTo>
                  <a:pt x="747" y="46"/>
                  <a:pt x="747" y="46"/>
                  <a:pt x="747" y="46"/>
                </a:cubicBezTo>
                <a:cubicBezTo>
                  <a:pt x="747" y="46"/>
                  <a:pt x="748" y="40"/>
                  <a:pt x="749" y="37"/>
                </a:cubicBezTo>
                <a:cubicBezTo>
                  <a:pt x="752" y="27"/>
                  <a:pt x="752" y="27"/>
                  <a:pt x="752" y="27"/>
                </a:cubicBezTo>
                <a:cubicBezTo>
                  <a:pt x="759" y="27"/>
                  <a:pt x="759" y="27"/>
                  <a:pt x="759" y="27"/>
                </a:cubicBezTo>
                <a:cubicBezTo>
                  <a:pt x="759" y="51"/>
                  <a:pt x="759" y="51"/>
                  <a:pt x="759" y="51"/>
                </a:cubicBezTo>
                <a:cubicBezTo>
                  <a:pt x="755" y="51"/>
                  <a:pt x="755" y="51"/>
                  <a:pt x="755" y="51"/>
                </a:cubicBezTo>
                <a:cubicBezTo>
                  <a:pt x="755" y="42"/>
                  <a:pt x="755" y="42"/>
                  <a:pt x="755" y="42"/>
                </a:cubicBezTo>
                <a:cubicBezTo>
                  <a:pt x="755" y="38"/>
                  <a:pt x="755" y="31"/>
                  <a:pt x="755" y="31"/>
                </a:cubicBezTo>
                <a:cubicBezTo>
                  <a:pt x="755" y="31"/>
                  <a:pt x="755" y="31"/>
                  <a:pt x="755" y="31"/>
                </a:cubicBezTo>
                <a:cubicBezTo>
                  <a:pt x="755" y="31"/>
                  <a:pt x="753" y="37"/>
                  <a:pt x="752" y="41"/>
                </a:cubicBezTo>
                <a:cubicBezTo>
                  <a:pt x="749" y="51"/>
                  <a:pt x="749" y="51"/>
                  <a:pt x="749" y="51"/>
                </a:cubicBezTo>
                <a:cubicBezTo>
                  <a:pt x="745" y="51"/>
                  <a:pt x="745" y="51"/>
                  <a:pt x="745" y="51"/>
                </a:cubicBezTo>
                <a:cubicBezTo>
                  <a:pt x="742" y="41"/>
                  <a:pt x="742" y="41"/>
                  <a:pt x="742" y="41"/>
                </a:cubicBezTo>
                <a:cubicBezTo>
                  <a:pt x="740" y="37"/>
                  <a:pt x="739" y="31"/>
                  <a:pt x="739" y="31"/>
                </a:cubicBezTo>
                <a:cubicBezTo>
                  <a:pt x="739" y="31"/>
                  <a:pt x="739" y="31"/>
                  <a:pt x="739" y="31"/>
                </a:cubicBezTo>
                <a:cubicBezTo>
                  <a:pt x="739" y="31"/>
                  <a:pt x="739" y="38"/>
                  <a:pt x="739" y="42"/>
                </a:cubicBezTo>
                <a:cubicBezTo>
                  <a:pt x="739" y="51"/>
                  <a:pt x="739" y="51"/>
                  <a:pt x="739" y="51"/>
                </a:cubicBezTo>
                <a:cubicBezTo>
                  <a:pt x="735" y="51"/>
                  <a:pt x="735" y="51"/>
                  <a:pt x="735" y="51"/>
                </a:cubicBezTo>
                <a:lnTo>
                  <a:pt x="735" y="27"/>
                </a:lnTo>
                <a:close/>
              </a:path>
            </a:pathLst>
          </a:custGeom>
          <a:solidFill>
            <a:srgbClr val="7D3F9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30" y="530351"/>
            <a:ext cx="9667725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30" y="1785938"/>
            <a:ext cx="9642308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851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1125">
          <p15:clr>
            <a:srgbClr val="F26B43"/>
          </p15:clr>
        </p15:guide>
        <p15:guide id="5" orient="horz" pos="3631">
          <p15:clr>
            <a:srgbClr val="F26B43"/>
          </p15:clr>
        </p15:guide>
        <p15:guide id="6" orient="horz" pos="41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bama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1" y="77973"/>
            <a:ext cx="1295400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3E1988B-2171-464C-A23B-851A0698AF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084776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3108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Florida </a:t>
            </a:r>
            <a:r>
              <a:rPr lang="en-US" sz="2800" dirty="0">
                <a:solidFill>
                  <a:schemeClr val="tx1"/>
                </a:solidFill>
              </a:rPr>
              <a:t>– Region 1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4CF6C2E-D1F4-4D61-893D-61117A4ED8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140126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2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1406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Georgia </a:t>
            </a:r>
            <a:r>
              <a:rPr lang="en-US" sz="2800" dirty="0">
                <a:solidFill>
                  <a:schemeClr val="tx1"/>
                </a:solidFill>
              </a:rPr>
              <a:t>– Region 1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2121D2C-206F-42FD-8D35-091F539D53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6592377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2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2% / 4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2% / 4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9181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Hawaii </a:t>
            </a:r>
            <a:r>
              <a:rPr lang="en-US" sz="2800" dirty="0">
                <a:solidFill>
                  <a:schemeClr val="tx1"/>
                </a:solidFill>
              </a:rPr>
              <a:t>– Region 3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132DF54-FA49-4C82-A050-A4953E8694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6323876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7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19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daho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3D7F887-9DF8-4CEC-8251-23019EF55F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512749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3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297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llinois </a:t>
            </a:r>
            <a:r>
              <a:rPr lang="en-US" sz="2800" dirty="0">
                <a:solidFill>
                  <a:schemeClr val="tx1"/>
                </a:solidFill>
              </a:rPr>
              <a:t>– Region 1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5A437EA-C7F4-46CA-A00D-46C3689D4B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12301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9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6512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ndiana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4E7FAF8-8742-4630-9007-01D8BAA351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66960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632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Iow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1D433-13B8-44A7-9395-8B0C57BF9F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058571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52093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ansas </a:t>
            </a:r>
            <a:r>
              <a:rPr lang="en-US" sz="2800" dirty="0">
                <a:solidFill>
                  <a:schemeClr val="tx1"/>
                </a:solidFill>
              </a:rPr>
              <a:t>– Region 2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01A6D7-7F24-494A-A6A8-69889D3AF5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325147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3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962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Kentucky </a:t>
            </a:r>
            <a:r>
              <a:rPr lang="en-US" sz="2800" dirty="0">
                <a:solidFill>
                  <a:schemeClr val="tx1"/>
                </a:solidFill>
              </a:rPr>
              <a:t>– Region 1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3DE84D7-BCC3-4ADD-9756-D5954E3FA4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634780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046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Louisiana </a:t>
            </a:r>
            <a:r>
              <a:rPr lang="en-US" sz="2800" dirty="0">
                <a:solidFill>
                  <a:schemeClr val="tx1"/>
                </a:solidFill>
              </a:rPr>
              <a:t>– Region 2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DE6E4C5-5E59-4196-8EE8-556DC0E122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1964290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2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32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laska </a:t>
            </a:r>
            <a:r>
              <a:rPr lang="en-US" sz="2800" dirty="0">
                <a:solidFill>
                  <a:schemeClr val="tx1"/>
                </a:solidFill>
              </a:rPr>
              <a:t>– Region 3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Rounded Rectangle 4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9A4EB82-814A-489D-ACD7-BC103B0531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3528426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3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2407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303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in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B3D6D669-FB44-458A-BDBE-C224A895CE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705549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685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ryland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B317E28-0C73-4092-92E2-1FDC2B5BB1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776050"/>
              </p:ext>
            </p:extLst>
          </p:nvPr>
        </p:nvGraphicFramePr>
        <p:xfrm>
          <a:off x="703908" y="92964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2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4472893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340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assachusetts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B3282C23-D19C-43F8-933C-31CDE56585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70114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2.90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344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chigan </a:t>
            </a:r>
            <a:r>
              <a:rPr lang="en-US" sz="2800" dirty="0">
                <a:solidFill>
                  <a:schemeClr val="tx1"/>
                </a:solidFill>
              </a:rPr>
              <a:t>– Region 1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B8F8C5E-211D-4CB0-966C-7684E0F43B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4065897"/>
              </p:ext>
            </p:extLst>
          </p:nvPr>
        </p:nvGraphicFramePr>
        <p:xfrm>
          <a:off x="703908" y="914400"/>
          <a:ext cx="9592618" cy="5002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17289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202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nnes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09B7717-AACA-4B78-95BB-A20308D08E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450140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8402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issippi </a:t>
            </a:r>
            <a:r>
              <a:rPr lang="en-US" sz="2800" dirty="0">
                <a:solidFill>
                  <a:schemeClr val="tx1"/>
                </a:solidFill>
              </a:rPr>
              <a:t>– Region 2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D22CF7E-BBFF-406B-B733-71F835D2E4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844879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8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4375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issouri</a:t>
            </a:r>
            <a:r>
              <a:rPr lang="en-US" sz="2800" dirty="0">
                <a:solidFill>
                  <a:schemeClr val="tx1"/>
                </a:solidFill>
              </a:rPr>
              <a:t>– Region 1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59BA957-A673-4DA7-9007-E17A3F5F6B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9843507"/>
              </p:ext>
            </p:extLst>
          </p:nvPr>
        </p:nvGraphicFramePr>
        <p:xfrm>
          <a:off x="703908" y="914400"/>
          <a:ext cx="9592618" cy="5002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3086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5085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Montan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63BE924-46D9-4696-917B-201F4425A2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6827114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9955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brask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042BFF90-18D8-4F21-AAD6-642BB0D9B7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719745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910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vada </a:t>
            </a:r>
            <a:r>
              <a:rPr lang="en-US" sz="2800" dirty="0">
                <a:solidFill>
                  <a:schemeClr val="tx1"/>
                </a:solidFill>
              </a:rPr>
              <a:t>– Region 2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779AAE3-3B1C-4759-AEF8-8729E9AD68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738139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6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2% / 4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2% / 4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475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izona </a:t>
            </a:r>
            <a:r>
              <a:rPr lang="en-US" sz="2800" dirty="0">
                <a:solidFill>
                  <a:schemeClr val="tx1"/>
                </a:solidFill>
              </a:rPr>
              <a:t>– Region 2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ounded Rectangle 6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9AA94E28-42CA-4265-AD6D-F76738CDD3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47954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4666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Hampshire </a:t>
            </a:r>
            <a:r>
              <a:rPr lang="en-US" sz="2800" dirty="0">
                <a:solidFill>
                  <a:schemeClr val="tx1"/>
                </a:solidFill>
              </a:rPr>
              <a:t>– Region 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ED5A76E-F7FF-48C0-932C-509182FC55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179823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754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Jersey </a:t>
            </a:r>
            <a:r>
              <a:rPr lang="en-US" sz="2800" dirty="0">
                <a:solidFill>
                  <a:schemeClr val="tx1"/>
                </a:solidFill>
              </a:rPr>
              <a:t>– Region 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814A20F-255B-45F5-9015-F55C7165BB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507255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3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4471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Mexico </a:t>
            </a:r>
            <a:r>
              <a:rPr lang="en-US" sz="2800" dirty="0">
                <a:solidFill>
                  <a:schemeClr val="tx1"/>
                </a:solidFill>
              </a:rPr>
              <a:t>– Region 2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9D46E5C2-5AE4-4CFA-941A-389A2C3EEA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324436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4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54397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ew York </a:t>
            </a:r>
            <a:r>
              <a:rPr lang="en-US" sz="2800" dirty="0">
                <a:solidFill>
                  <a:schemeClr val="tx1"/>
                </a:solidFill>
              </a:rPr>
              <a:t>– Region 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3F8D117-F619-4F3E-BCFC-4EC5ACF6A5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541119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66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8376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Carolina </a:t>
            </a:r>
            <a:r>
              <a:rPr lang="en-US" sz="2800" dirty="0">
                <a:solidFill>
                  <a:schemeClr val="tx1"/>
                </a:solidFill>
              </a:rPr>
              <a:t>– Region 8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9EB8C76-835F-41DD-AC73-F1A84F7E92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8076707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2.3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535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Nor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2D4EE212-CD71-438A-AF87-C2AB014203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4154454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170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hio </a:t>
            </a:r>
            <a:r>
              <a:rPr lang="en-US" sz="2800" dirty="0">
                <a:solidFill>
                  <a:schemeClr val="tx1"/>
                </a:solidFill>
              </a:rPr>
              <a:t>– Region 14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55B82B-457F-47B5-9A47-971D631E3E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0241289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0448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klahoma </a:t>
            </a:r>
            <a:r>
              <a:rPr lang="en-US" sz="2800" dirty="0">
                <a:solidFill>
                  <a:schemeClr val="tx1"/>
                </a:solidFill>
              </a:rPr>
              <a:t>– Region 23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DDAE416-0AFC-4955-A1B9-54AE5389A3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867495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6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58862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Oreg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353EFF9-D428-4A81-8214-93E229819A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0324646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0693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Pennsylva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8748CD6-A3A8-4CF5-A635-2B93FCB89A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3988890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9612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Arkansas </a:t>
            </a:r>
            <a:r>
              <a:rPr lang="en-US" sz="2800" dirty="0">
                <a:solidFill>
                  <a:schemeClr val="tx1"/>
                </a:solidFill>
              </a:rPr>
              <a:t>– Region 1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5DC7A4-8C67-4380-9DAA-CB6B866890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271493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7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231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Rhode Island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FBF857D0-04D9-4A45-BAF0-F7C20A0B4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279678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032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Carolina </a:t>
            </a:r>
            <a:r>
              <a:rPr lang="en-US" sz="2800" dirty="0">
                <a:solidFill>
                  <a:schemeClr val="tx1"/>
                </a:solidFill>
              </a:rPr>
              <a:t>– Region 9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552D8CD8-0E25-417A-A5FE-B296777D4E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389197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3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132723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01587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South Dakota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E4461D91-3221-4B8C-92D5-85189CC927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999504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099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nnessee </a:t>
            </a:r>
            <a:r>
              <a:rPr lang="en-US" sz="2800" dirty="0">
                <a:solidFill>
                  <a:schemeClr val="tx1"/>
                </a:solidFill>
              </a:rPr>
              <a:t>– Region 1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A8E66D96-D0F3-4E10-B8C5-6F28E9DFC3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855481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99187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Texas </a:t>
            </a:r>
            <a:r>
              <a:rPr lang="en-US" sz="2800" dirty="0">
                <a:solidFill>
                  <a:schemeClr val="tx1"/>
                </a:solidFill>
              </a:rPr>
              <a:t>– Region 2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6E81C1E-149E-44BD-B67A-8C37D626FD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3560814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78872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Utah </a:t>
            </a:r>
            <a:r>
              <a:rPr lang="en-US" sz="2800" dirty="0">
                <a:solidFill>
                  <a:schemeClr val="tx1"/>
                </a:solidFill>
              </a:rPr>
              <a:t>– Region 31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CE3C8A7-3479-44DD-AB28-3FB71B720D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6981606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3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52166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ermon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3729D57-8B51-454A-8960-413AF75451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539784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2.90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9479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Virginia </a:t>
            </a:r>
            <a:r>
              <a:rPr lang="en-US" sz="2800" dirty="0">
                <a:solidFill>
                  <a:schemeClr val="tx1"/>
                </a:solidFill>
              </a:rPr>
              <a:t>– Region 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14B3191C-8604-48A7-9D38-630DEDB842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4389049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39.4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6% / 4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981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ashington </a:t>
            </a:r>
            <a:r>
              <a:rPr lang="en-US" sz="2800" dirty="0">
                <a:solidFill>
                  <a:schemeClr val="tx1"/>
                </a:solidFill>
              </a:rPr>
              <a:t>– Region 30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4D23978A-1FE1-448F-A538-FE739E7178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052790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4.1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7038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est Virginia </a:t>
            </a:r>
            <a:r>
              <a:rPr lang="en-US" sz="2800" dirty="0">
                <a:solidFill>
                  <a:schemeClr val="tx1"/>
                </a:solidFill>
              </a:rPr>
              <a:t>– Region 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2C3F778-8363-4EAB-9968-9C6B5D634E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3582353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0.7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45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alifornia </a:t>
            </a:r>
            <a:r>
              <a:rPr lang="en-US" sz="2800" dirty="0">
                <a:solidFill>
                  <a:schemeClr val="tx1"/>
                </a:solidFill>
              </a:rPr>
              <a:t>– Region 3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09B0E36-A98E-4A60-A760-B955E6EB67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740987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5.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0173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isconsin </a:t>
            </a:r>
            <a:r>
              <a:rPr lang="en-US" sz="2800" dirty="0">
                <a:solidFill>
                  <a:schemeClr val="tx1"/>
                </a:solidFill>
              </a:rPr>
              <a:t>– Region 16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62E39339-F7A8-452C-8925-0744617308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687716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5.6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0% / 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0% / 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5525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Wyoming </a:t>
            </a:r>
            <a:r>
              <a:rPr lang="en-US" sz="2800" dirty="0">
                <a:solidFill>
                  <a:schemeClr val="tx1"/>
                </a:solidFill>
              </a:rPr>
              <a:t>– Region 2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8A5DBD00-19FF-4346-B8EF-E52285BB52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125851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23921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1.0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 / 3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073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lorado </a:t>
            </a:r>
            <a:r>
              <a:rPr lang="en-US" sz="2800" dirty="0">
                <a:solidFill>
                  <a:schemeClr val="tx1"/>
                </a:solidFill>
              </a:rPr>
              <a:t>– Region 27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33817F9-DBD4-4A54-877F-F810CA0E0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5025015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9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 / 4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1134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Connecticut </a:t>
            </a:r>
            <a:r>
              <a:rPr lang="en-US" sz="2800" dirty="0">
                <a:solidFill>
                  <a:schemeClr val="tx1"/>
                </a:solidFill>
              </a:rPr>
              <a:t>– Region 2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AFC7176-E725-4C8C-831C-B68868863D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6260032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50.9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 / 3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elaware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66A92BF-2226-461A-B0A8-DD9E7B6BBB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5139048"/>
              </p:ext>
            </p:extLst>
          </p:nvPr>
        </p:nvGraphicFramePr>
        <p:xfrm>
          <a:off x="703908" y="914400"/>
          <a:ext cx="959261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397">
                  <a:extLst>
                    <a:ext uri="{9D8B030D-6E8A-4147-A177-3AD203B41FA5}">
                      <a16:colId xmlns:a16="http://schemas.microsoft.com/office/drawing/2014/main" val="3274908386"/>
                    </a:ext>
                  </a:extLst>
                </a:gridCol>
                <a:gridCol w="2328828">
                  <a:extLst>
                    <a:ext uri="{9D8B030D-6E8A-4147-A177-3AD203B41FA5}">
                      <a16:colId xmlns:a16="http://schemas.microsoft.com/office/drawing/2014/main" val="1129777722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660335731"/>
                    </a:ext>
                  </a:extLst>
                </a:gridCol>
                <a:gridCol w="2754095">
                  <a:extLst>
                    <a:ext uri="{9D8B030D-6E8A-4147-A177-3AD203B41FA5}">
                      <a16:colId xmlns:a16="http://schemas.microsoft.com/office/drawing/2014/main" val="3423918390"/>
                    </a:ext>
                  </a:extLst>
                </a:gridCol>
              </a:tblGrid>
              <a:tr h="1967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2868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2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9764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23391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54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8468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978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442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681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32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96744"/>
                  </a:ext>
                </a:extLst>
              </a:tr>
              <a:tr h="51625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294678"/>
                  </a:ext>
                </a:extLst>
              </a:tr>
              <a:tr h="52504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896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2057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6E4A-4A99-40B0-B8D6-134AA993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908" y="137825"/>
            <a:ext cx="7250794" cy="39811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+mn-lt"/>
              </a:rPr>
              <a:t>2024 SilverScript Choice PDP Design</a:t>
            </a:r>
            <a:br>
              <a:rPr lang="en-US" sz="2800" dirty="0">
                <a:solidFill>
                  <a:schemeClr val="tx1"/>
                </a:solidFill>
                <a:latin typeface="+mn-lt"/>
              </a:rPr>
            </a:br>
            <a:r>
              <a:rPr lang="en-US" sz="2800" dirty="0">
                <a:solidFill>
                  <a:schemeClr val="tx1"/>
                </a:solidFill>
                <a:latin typeface="+mn-lt"/>
              </a:rPr>
              <a:t>District of Columbia </a:t>
            </a:r>
            <a:r>
              <a:rPr lang="en-US" sz="2800" dirty="0">
                <a:solidFill>
                  <a:schemeClr val="tx1"/>
                </a:solidFill>
              </a:rPr>
              <a:t>– Region 5</a:t>
            </a:r>
            <a:endParaRPr lang="en-US" sz="2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gray">
          <a:xfrm>
            <a:off x="3638550" y="77973"/>
            <a:ext cx="1247775" cy="442896"/>
          </a:xfrm>
          <a:prstGeom prst="roundRect">
            <a:avLst/>
          </a:prstGeom>
          <a:noFill/>
          <a:ln w="38100">
            <a:solidFill>
              <a:srgbClr val="FF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C8277BB-1952-4D3B-84FB-771AE6B83D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254073"/>
              </p:ext>
            </p:extLst>
          </p:nvPr>
        </p:nvGraphicFramePr>
        <p:xfrm>
          <a:off x="703908" y="929640"/>
          <a:ext cx="9455349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7972">
                  <a:extLst>
                    <a:ext uri="{9D8B030D-6E8A-4147-A177-3AD203B41FA5}">
                      <a16:colId xmlns:a16="http://schemas.microsoft.com/office/drawing/2014/main" val="1721690670"/>
                    </a:ext>
                  </a:extLst>
                </a:gridCol>
                <a:gridCol w="2295503">
                  <a:extLst>
                    <a:ext uri="{9D8B030D-6E8A-4147-A177-3AD203B41FA5}">
                      <a16:colId xmlns:a16="http://schemas.microsoft.com/office/drawing/2014/main" val="1178083806"/>
                    </a:ext>
                  </a:extLst>
                </a:gridCol>
                <a:gridCol w="2487190">
                  <a:extLst>
                    <a:ext uri="{9D8B030D-6E8A-4147-A177-3AD203B41FA5}">
                      <a16:colId xmlns:a16="http://schemas.microsoft.com/office/drawing/2014/main" val="754326068"/>
                    </a:ext>
                  </a:extLst>
                </a:gridCol>
                <a:gridCol w="2714684">
                  <a:extLst>
                    <a:ext uri="{9D8B030D-6E8A-4147-A177-3AD203B41FA5}">
                      <a16:colId xmlns:a16="http://schemas.microsoft.com/office/drawing/2014/main" val="2398348084"/>
                    </a:ext>
                  </a:extLst>
                </a:gridCol>
              </a:tblGrid>
              <a:tr h="30359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t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SilverScript Choice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748827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emium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$42.5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894571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Annual Deductible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45 deductible applies to drug Tiers 1-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083938"/>
                  </a:ext>
                </a:extLst>
              </a:tr>
              <a:tr h="51611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Initial Coverage (ICL)</a:t>
                      </a:r>
                    </a:p>
                    <a:p>
                      <a:endParaRPr lang="en-US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Retail Pharmacy Preferred / Standard                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Retail Pharmacy Preferred / Stand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VS Caremark Mail Service Pharmacy (Preferr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70940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90-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858161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 / $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 / $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220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7 / $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 / $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1826899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6% / 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538000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5% / 3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30258"/>
                  </a:ext>
                </a:extLst>
              </a:tr>
              <a:tr h="303598"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latin typeface="+mn-lt"/>
                        </a:rPr>
                        <a:t>Tier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2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786526"/>
                  </a:ext>
                </a:extLst>
              </a:tr>
              <a:tr h="75899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overage Gap </a:t>
                      </a:r>
                    </a:p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(Donut Hole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embers leave the ICL stage and enter the Medicare Coverage Gap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when they have reached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$5,030 in total yearly drug costs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Generic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 drugs:  Members pay 25% of the cost</a:t>
                      </a: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Brand drugs:  Members pay 25% of the cost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4472893"/>
                  </a:ext>
                </a:extLst>
              </a:tr>
              <a:tr h="75899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  <a:ea typeface="Verdana" panose="020B0604030504040204" pitchFamily="34" charset="0"/>
                        </a:rPr>
                        <a:t>Catastrophic Coverage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embers enter the Catastrophic Coverage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stage when they have spent </a:t>
                      </a:r>
                    </a:p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</a:rPr>
                        <a:t>$8,000 out of pocket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(not including monthly premiums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Part D Drugs: $0 member cost-share 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</a:rPr>
                        <a:t>Covered Non-Part D Drugs: Cost share same as Initial Coverage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4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6559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tna_PPT_EVERYDAY_Template">
  <a:themeElements>
    <a:clrScheme name="Custom 9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B18CC1"/>
      </a:accent3>
      <a:accent4>
        <a:srgbClr val="B9AFD6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0</TotalTime>
  <Words>10926</Words>
  <Application>Microsoft Office PowerPoint</Application>
  <PresentationFormat>Widescreen</PresentationFormat>
  <Paragraphs>2306</Paragraphs>
  <Slides>5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6" baseType="lpstr">
      <vt:lpstr>Arial</vt:lpstr>
      <vt:lpstr>Lucida Grande</vt:lpstr>
      <vt:lpstr>Open Sans</vt:lpstr>
      <vt:lpstr>Aetna_PPT_EVERYDAY_Template</vt:lpstr>
      <vt:lpstr>think-cell Slide</vt:lpstr>
      <vt:lpstr>2024 SilverScript Choice PDP Design Alabama – Region 12</vt:lpstr>
      <vt:lpstr>2024 SilverScript Choice PDP Design Alaska – Region 34</vt:lpstr>
      <vt:lpstr>2024 SilverScript Choice PDP Design Arizona – Region 28</vt:lpstr>
      <vt:lpstr>2024 SilverScript Choice PDP Design Arkansas – Region 19</vt:lpstr>
      <vt:lpstr>2024 SilverScript Choice PDP Design California – Region 32</vt:lpstr>
      <vt:lpstr>2024 SilverScript Choice PDP Design Colorado – Region 27</vt:lpstr>
      <vt:lpstr>2024 SilverScript Choice PDP Design Connecticut – Region 2</vt:lpstr>
      <vt:lpstr>2024 SilverScript Choice PDP Design Delaware – Region 5</vt:lpstr>
      <vt:lpstr>2024 SilverScript Choice PDP Design District of Columbia – Region 5</vt:lpstr>
      <vt:lpstr>2024 SilverScript Choice PDP Design Florida – Region 11</vt:lpstr>
      <vt:lpstr>2024 SilverScript Choice PDP Design Georgia – Region 10</vt:lpstr>
      <vt:lpstr>2024 SilverScript Choice PDP Design Hawaii – Region 33</vt:lpstr>
      <vt:lpstr>2024 SilverScript Choice PDP Design Idaho – Region 31</vt:lpstr>
      <vt:lpstr>2024 SilverScript Choice PDP Design Illinois – Region 17</vt:lpstr>
      <vt:lpstr>2024 SilverScript Choice PDP Design Indiana – Region 15</vt:lpstr>
      <vt:lpstr>2024 SilverScript Choice PDP Design Iowa – Region 25</vt:lpstr>
      <vt:lpstr>2024 SilverScript Choice PDP Design Kansas – Region 24</vt:lpstr>
      <vt:lpstr>2024 SilverScript Choice PDP Design Kentucky – Region 15</vt:lpstr>
      <vt:lpstr>2024 SilverScript Choice PDP Design Louisiana – Region 21</vt:lpstr>
      <vt:lpstr>2024 SilverScript Choice PDP Design Maine – Region 1</vt:lpstr>
      <vt:lpstr>2024 SilverScript Choice PDP Design Maryland – Region 5</vt:lpstr>
      <vt:lpstr>2024 SilverScript Choice PDP Design Massachusetts – Region 2</vt:lpstr>
      <vt:lpstr>2024 SilverScript Choice PDP Design Michigan – Region 13</vt:lpstr>
      <vt:lpstr>2024 SilverScript Choice PDP Design Minnesota – Region 25</vt:lpstr>
      <vt:lpstr>2024 SilverScript Choice PDP Design Mississippi – Region 20</vt:lpstr>
      <vt:lpstr>2024 SilverScript Choice PDP Design Missouri– Region 18</vt:lpstr>
      <vt:lpstr>2024 SilverScript Choice PDP Design Montana – Region 25</vt:lpstr>
      <vt:lpstr>2024 SilverScript Choice PDP Design Nebraska – Region 25</vt:lpstr>
      <vt:lpstr>2024 SilverScript Choice PDP Design Nevada – Region 29</vt:lpstr>
      <vt:lpstr>2024 SilverScript Choice PDP Design New Hampshire – Region 1</vt:lpstr>
      <vt:lpstr>2024 SilverScript Choice PDP Design New Jersey – Region 4</vt:lpstr>
      <vt:lpstr>2024 SilverScript Choice PDP Design New Mexico – Region 26</vt:lpstr>
      <vt:lpstr>2024 SilverScript Choice PDP Design New York – Region 3</vt:lpstr>
      <vt:lpstr>2024 SilverScript Choice PDP Design North Carolina – Region 8</vt:lpstr>
      <vt:lpstr>2024 SilverScript Choice PDP Design North Dakota – Region 25</vt:lpstr>
      <vt:lpstr>2024 SilverScript Choice PDP Design Ohio – Region 14</vt:lpstr>
      <vt:lpstr>2024 SilverScript Choice PDP Design Oklahoma – Region 23</vt:lpstr>
      <vt:lpstr>2024 SilverScript Choice PDP Design Oregon – Region 30</vt:lpstr>
      <vt:lpstr>2024 SilverScript Choice PDP Design Pennsylvania – Region 6</vt:lpstr>
      <vt:lpstr>2024 SilverScript Choice PDP Design Rhode Island – Region 2</vt:lpstr>
      <vt:lpstr>2024 SilverScript Choice PDP Design South Carolina – Region 9</vt:lpstr>
      <vt:lpstr>2024 SilverScript Choice PDP Design South Dakota – Region 25</vt:lpstr>
      <vt:lpstr>2024 SilverScript Choice PDP Design Tennessee – Region 12</vt:lpstr>
      <vt:lpstr>2024 SilverScript Choice PDP Design Texas – Region 22</vt:lpstr>
      <vt:lpstr>2024 SilverScript Choice PDP Design Utah – Region 31</vt:lpstr>
      <vt:lpstr>2024 SilverScript Choice PDP Design Vermont – Region 2</vt:lpstr>
      <vt:lpstr>2024 SilverScript Choice PDP Design Virginia – Region 7</vt:lpstr>
      <vt:lpstr>2024 SilverScript Choice PDP Design Washington – Region 30</vt:lpstr>
      <vt:lpstr>2024 SilverScript Choice PDP Design West Virginia – Region 6</vt:lpstr>
      <vt:lpstr>2024 SilverScript Choice PDP Design Wisconsin – Region 16</vt:lpstr>
      <vt:lpstr>2024 SilverScript Choice PDP Design Wyoming – Region 25</vt:lpstr>
    </vt:vector>
  </TitlesOfParts>
  <Company>CVS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SilverScript SmartRx PDP Design State - Region</dc:title>
  <dc:creator>Pietralczyk, Rene</dc:creator>
  <cp:lastModifiedBy>Kristoff, Angel T</cp:lastModifiedBy>
  <cp:revision>65</cp:revision>
  <dcterms:created xsi:type="dcterms:W3CDTF">2020-07-23T16:48:32Z</dcterms:created>
  <dcterms:modified xsi:type="dcterms:W3CDTF">2023-11-20T14:2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1-09-15T12:18:59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5707c850-6898-477f-84aa-d7eff5156b62</vt:lpwstr>
  </property>
  <property fmtid="{D5CDD505-2E9C-101B-9397-08002B2CF9AE}" pid="8" name="MSIP_Label_67599526-06ca-49cc-9fa9-5307800a949a_ContentBits">
    <vt:lpwstr>0</vt:lpwstr>
  </property>
</Properties>
</file>